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  <p:sldMasterId id="2147483806" r:id="rId2"/>
  </p:sldMasterIdLst>
  <p:notesMasterIdLst>
    <p:notesMasterId r:id="rId12"/>
  </p:notesMasterIdLst>
  <p:handoutMasterIdLst>
    <p:handoutMasterId r:id="rId13"/>
  </p:handoutMasterIdLst>
  <p:sldIdLst>
    <p:sldId id="331" r:id="rId3"/>
    <p:sldId id="323" r:id="rId4"/>
    <p:sldId id="324" r:id="rId5"/>
    <p:sldId id="325" r:id="rId6"/>
    <p:sldId id="327" r:id="rId7"/>
    <p:sldId id="326" r:id="rId8"/>
    <p:sldId id="329" r:id="rId9"/>
    <p:sldId id="328" r:id="rId10"/>
    <p:sldId id="330" r:id="rId11"/>
  </p:sldIdLst>
  <p:sldSz cx="12192000" cy="6858000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85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BCBC"/>
    <a:srgbClr val="95A0B2"/>
    <a:srgbClr val="6985AF"/>
    <a:srgbClr val="6B6B6B"/>
    <a:srgbClr val="FFC000"/>
    <a:srgbClr val="B2B2B2"/>
    <a:srgbClr val="606060"/>
    <a:srgbClr val="3D46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354" autoAdjust="0"/>
    <p:restoredTop sz="94444" autoAdjust="0"/>
  </p:normalViewPr>
  <p:slideViewPr>
    <p:cSldViewPr>
      <p:cViewPr varScale="1">
        <p:scale>
          <a:sx n="106" d="100"/>
          <a:sy n="106" d="100"/>
        </p:scale>
        <p:origin x="-420" y="-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38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AFEA3DE6-CA35-45BB-A022-BA8C07D67E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98320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9CB8AA4-54E6-4756-BC1D-9E23BD8C9F53}" type="datetimeFigureOut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1A12423-7142-46E9-BACA-95759889CA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0659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1A12423-7142-46E9-BACA-95759889CA1E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08539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0"/>
              </a:spcBef>
              <a:buNone/>
              <a:defRPr lang="ru-RU" sz="2215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87177E-D137-4372-8D6C-E56580DA84B2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4AAE4E-5D9A-4D4E-9672-2DCACE84E91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923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462">
                <a:solidFill>
                  <a:schemeClr val="tx1">
                    <a:tint val="75000"/>
                  </a:schemeClr>
                </a:solidFill>
              </a:defRPr>
            </a:lvl1pPr>
            <a:lvl2pPr marL="562722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2pPr>
            <a:lvl3pPr marL="1125444" indent="0">
              <a:buNone/>
              <a:defRPr sz="1969">
                <a:solidFill>
                  <a:schemeClr val="tx1">
                    <a:tint val="75000"/>
                  </a:schemeClr>
                </a:solidFill>
              </a:defRPr>
            </a:lvl3pPr>
            <a:lvl4pPr marL="1688165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4pPr>
            <a:lvl5pPr marL="2250887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5pPr>
            <a:lvl6pPr marL="2813609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6pPr>
            <a:lvl7pPr marL="3376331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7pPr>
            <a:lvl8pPr marL="3939052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8pPr>
            <a:lvl9pPr marL="4501774" indent="0">
              <a:buNone/>
              <a:defRPr sz="17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305795-B382-4560-A168-B08816E1DBAC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FEA244-AB07-409C-9468-7E42533F67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60401" y="1600204"/>
            <a:ext cx="5842000" cy="4525963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705601" y="1600204"/>
            <a:ext cx="5842000" cy="4525963"/>
          </a:xfrm>
        </p:spPr>
        <p:txBody>
          <a:bodyPr/>
          <a:lstStyle>
            <a:lvl1pPr>
              <a:defRPr sz="3446"/>
            </a:lvl1pPr>
            <a:lvl2pPr>
              <a:defRPr sz="2954"/>
            </a:lvl2pPr>
            <a:lvl3pPr>
              <a:defRPr sz="2462"/>
            </a:lvl3pPr>
            <a:lvl4pPr>
              <a:defRPr sz="2215"/>
            </a:lvl4pPr>
            <a:lvl5pPr>
              <a:defRPr sz="2215"/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DB3C7D-B3EA-4B39-87FF-B71CBB982CD6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995769-BC74-4B39-BA24-E70E58F22D5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4" cy="639762"/>
          </a:xfrm>
        </p:spPr>
        <p:txBody>
          <a:bodyPr anchor="b"/>
          <a:lstStyle>
            <a:lvl1pPr marL="0" indent="0">
              <a:buNone/>
              <a:defRPr sz="2954" b="1"/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4" cy="3951288"/>
          </a:xfrm>
        </p:spPr>
        <p:txBody>
          <a:bodyPr/>
          <a:lstStyle>
            <a:lvl1pPr>
              <a:defRPr sz="2954"/>
            </a:lvl1pPr>
            <a:lvl2pPr>
              <a:defRPr sz="2462"/>
            </a:lvl2pPr>
            <a:lvl3pPr>
              <a:defRPr sz="2215"/>
            </a:lvl3pPr>
            <a:lvl4pPr>
              <a:defRPr sz="1969"/>
            </a:lvl4pPr>
            <a:lvl5pPr>
              <a:defRPr sz="1969"/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301C71-87B2-4DD6-BE01-AAD10CD3CC7A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6A13E-329C-48E9-BFC9-63D30BD920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C5AB6F-2FFC-4FA3-95E3-0D9704813FD3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73E873-E54A-40A9-8FC0-EA88EA54666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3D3162-BBB4-4FCA-8830-42BBB059024E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E64FEC-E3E6-4829-9793-1C9B216666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6" y="273053"/>
            <a:ext cx="6815666" cy="5853113"/>
          </a:xfrm>
        </p:spPr>
        <p:txBody>
          <a:bodyPr/>
          <a:lstStyle>
            <a:lvl1pPr>
              <a:defRPr sz="3939"/>
            </a:lvl1pPr>
            <a:lvl2pPr>
              <a:defRPr sz="3446"/>
            </a:lvl2pPr>
            <a:lvl3pPr>
              <a:defRPr sz="2954"/>
            </a:lvl3pPr>
            <a:lvl4pPr>
              <a:defRPr sz="2462"/>
            </a:lvl4pPr>
            <a:lvl5pPr>
              <a:defRPr sz="2462"/>
            </a:lvl5pPr>
            <a:lvl6pPr>
              <a:defRPr sz="2462"/>
            </a:lvl6pPr>
            <a:lvl7pPr>
              <a:defRPr sz="2462"/>
            </a:lvl7pPr>
            <a:lvl8pPr>
              <a:defRPr sz="2462"/>
            </a:lvl8pPr>
            <a:lvl9pPr>
              <a:defRPr sz="2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274607-7176-4BF2-959F-068C4222D697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FE2A1E-B6CB-4352-96C0-C4B00795DF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462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939"/>
            </a:lvl1pPr>
            <a:lvl2pPr marL="562722" indent="0">
              <a:buNone/>
              <a:defRPr sz="3446"/>
            </a:lvl2pPr>
            <a:lvl3pPr marL="1125444" indent="0">
              <a:buNone/>
              <a:defRPr sz="2954"/>
            </a:lvl3pPr>
            <a:lvl4pPr marL="1688165" indent="0">
              <a:buNone/>
              <a:defRPr sz="2462"/>
            </a:lvl4pPr>
            <a:lvl5pPr marL="2250887" indent="0">
              <a:buNone/>
              <a:defRPr sz="2462"/>
            </a:lvl5pPr>
            <a:lvl6pPr marL="2813609" indent="0">
              <a:buNone/>
              <a:defRPr sz="2462"/>
            </a:lvl6pPr>
            <a:lvl7pPr marL="3376331" indent="0">
              <a:buNone/>
              <a:defRPr sz="2462"/>
            </a:lvl7pPr>
            <a:lvl8pPr marL="3939052" indent="0">
              <a:buNone/>
              <a:defRPr sz="2462"/>
            </a:lvl8pPr>
            <a:lvl9pPr marL="4501774" indent="0">
              <a:buNone/>
              <a:defRPr sz="2462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723"/>
            </a:lvl1pPr>
            <a:lvl2pPr marL="562722" indent="0">
              <a:buNone/>
              <a:defRPr sz="1477"/>
            </a:lvl2pPr>
            <a:lvl3pPr marL="1125444" indent="0">
              <a:buNone/>
              <a:defRPr sz="1231"/>
            </a:lvl3pPr>
            <a:lvl4pPr marL="1688165" indent="0">
              <a:buNone/>
              <a:defRPr sz="1108"/>
            </a:lvl4pPr>
            <a:lvl5pPr marL="2250887" indent="0">
              <a:buNone/>
              <a:defRPr sz="1108"/>
            </a:lvl5pPr>
            <a:lvl6pPr marL="2813609" indent="0">
              <a:buNone/>
              <a:defRPr sz="1108"/>
            </a:lvl6pPr>
            <a:lvl7pPr marL="3376331" indent="0">
              <a:buNone/>
              <a:defRPr sz="1108"/>
            </a:lvl7pPr>
            <a:lvl8pPr marL="3939052" indent="0">
              <a:buNone/>
              <a:defRPr sz="1108"/>
            </a:lvl8pPr>
            <a:lvl9pPr marL="4501774" indent="0">
              <a:buNone/>
              <a:defRPr sz="110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5F535E-EE55-48D1-BB2D-8872F541B281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0039C5-A009-4F73-9F44-EF2A5582D88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71A86B-F5C1-465B-962A-FC3E958B3848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CCBCA1-E9DC-407F-A194-E68E7D4A93C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575799" y="274640"/>
            <a:ext cx="2971801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60402" y="274640"/>
            <a:ext cx="8712201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BAF3C4-912A-438D-B5CC-B1EAA441F9C7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E096BD-F30B-4362-8B51-7A2EFD21E49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0"/>
              </a:spcBef>
              <a:buNone/>
              <a:defRPr lang="ru-RU" sz="2215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202" y="1304761"/>
            <a:ext cx="5391237" cy="4821562"/>
          </a:xfrm>
        </p:spPr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1561" y="1304761"/>
            <a:ext cx="5391237" cy="4821562"/>
          </a:xfrm>
        </p:spPr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2215"/>
            </a:lvl6pPr>
            <a:lvl7pPr>
              <a:defRPr sz="2215"/>
            </a:lvl7pPr>
            <a:lvl8pPr>
              <a:defRPr sz="2215"/>
            </a:lvl8pPr>
            <a:lvl9pPr>
              <a:defRPr sz="221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FC54F-A6BA-4F6A-B5DC-FF62B35F011F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547689-CBF6-4CB7-AC59-529DE4E8C1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0"/>
              </a:spcBef>
              <a:buNone/>
              <a:defRPr lang="ru-RU" sz="2215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203" y="1171997"/>
            <a:ext cx="5387255" cy="464677"/>
          </a:xfrm>
          <a:solidFill>
            <a:srgbClr val="6B6B6B"/>
          </a:solidFill>
        </p:spPr>
        <p:txBody>
          <a:bodyPr anchor="ctr" anchorCtr="1">
            <a:normAutofit/>
          </a:bodyPr>
          <a:lstStyle>
            <a:lvl1pPr marL="0" indent="0" algn="ctr">
              <a:buNone/>
              <a:defRPr sz="1723" b="0">
                <a:solidFill>
                  <a:schemeClr val="bg1"/>
                </a:solidFill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203" y="1835822"/>
            <a:ext cx="5387255" cy="4290502"/>
          </a:xfrm>
        </p:spPr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552" y="1171997"/>
            <a:ext cx="5389246" cy="464676"/>
          </a:xfrm>
          <a:solidFill>
            <a:srgbClr val="6B6B6B"/>
          </a:solidFill>
        </p:spPr>
        <p:txBody>
          <a:bodyPr rtlCol="0" anchor="ctr" anchorCtr="1">
            <a:normAutofit/>
          </a:bodyPr>
          <a:lstStyle>
            <a:lvl1pPr marL="0" indent="0">
              <a:buNone/>
              <a:defRPr lang="ru-RU" sz="1723" b="0" kern="1200" smtClean="0">
                <a:solidFill>
                  <a:schemeClr val="bg1"/>
                </a:solidFill>
                <a:latin typeface="Europe" pitchFamily="50" charset="-52"/>
                <a:ea typeface="+mn-ea"/>
                <a:cs typeface="+mn-cs"/>
              </a:defRPr>
            </a:lvl1pPr>
            <a:lvl2pPr marL="562722" indent="0">
              <a:buNone/>
              <a:defRPr sz="2462" b="1"/>
            </a:lvl2pPr>
            <a:lvl3pPr marL="1125444" indent="0">
              <a:buNone/>
              <a:defRPr sz="2215" b="1"/>
            </a:lvl3pPr>
            <a:lvl4pPr marL="1688165" indent="0">
              <a:buNone/>
              <a:defRPr sz="1969" b="1"/>
            </a:lvl4pPr>
            <a:lvl5pPr marL="2250887" indent="0">
              <a:buNone/>
              <a:defRPr sz="1969" b="1"/>
            </a:lvl5pPr>
            <a:lvl6pPr marL="2813609" indent="0">
              <a:buNone/>
              <a:defRPr sz="1969" b="1"/>
            </a:lvl6pPr>
            <a:lvl7pPr marL="3376331" indent="0">
              <a:buNone/>
              <a:defRPr sz="1969" b="1"/>
            </a:lvl7pPr>
            <a:lvl8pPr marL="3939052" indent="0">
              <a:buNone/>
              <a:defRPr sz="1969" b="1"/>
            </a:lvl8pPr>
            <a:lvl9pPr marL="4501774" indent="0">
              <a:buNone/>
              <a:defRPr sz="1969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552" y="1835822"/>
            <a:ext cx="5389246" cy="4290502"/>
          </a:xfrm>
        </p:spPr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1125444" rtl="0" eaLnBrk="1" latinLnBrk="0" hangingPunct="1">
              <a:spcBef>
                <a:spcPct val="20000"/>
              </a:spcBef>
              <a:defRPr lang="ru-RU" sz="1477" kern="1200" dirty="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  <a:lvl6pPr>
              <a:defRPr sz="1969"/>
            </a:lvl6pPr>
            <a:lvl7pPr>
              <a:defRPr sz="1969"/>
            </a:lvl7pPr>
            <a:lvl8pPr>
              <a:defRPr sz="1969"/>
            </a:lvl8pPr>
            <a:lvl9pPr>
              <a:defRPr sz="1969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D576B0-1655-49D3-9B0F-6FF79D3404F0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E128FB-F29F-49FD-9DE2-07B35F32A1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609202" y="176260"/>
            <a:ext cx="10324612" cy="597443"/>
          </a:xfrm>
        </p:spPr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0"/>
              </a:spcBef>
              <a:buNone/>
              <a:defRPr lang="ru-RU" sz="2215" kern="120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D7B1EA-595B-436C-B7B4-296262377524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91D83F-E4CF-4B1D-B5C8-1837B10F0D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>
              <a:defRPr kumimoji="0" lang="ru-RU" sz="2215" b="0" i="0" u="none" strike="noStrike" kern="1200" cap="none" spc="0" normalizeH="0" baseline="0" noProof="0" dirty="0" smtClean="0">
                <a:ln>
                  <a:noFill/>
                </a:ln>
                <a:solidFill>
                  <a:srgbClr val="3D464A"/>
                </a:solidFill>
                <a:effectLst/>
                <a:uLnTx/>
                <a:uFillTx/>
                <a:latin typeface="Europe" pitchFamily="50" charset="-52"/>
                <a:ea typeface="+mj-ea"/>
                <a:cs typeface="+mj-cs"/>
              </a:defRPr>
            </a:lvl1pPr>
          </a:lstStyle>
          <a:p>
            <a:pPr lvl="0"/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rtlCol="0">
            <a:normAutofit/>
          </a:bodyPr>
          <a:lstStyle>
            <a:lvl1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1pPr>
            <a:lvl2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2pPr>
            <a:lvl3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3pPr>
            <a:lvl4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4pPr>
            <a:lvl5pPr algn="l" defTabSz="1125444" rtl="0" eaLnBrk="1" latinLnBrk="0" hangingPunct="1">
              <a:spcBef>
                <a:spcPct val="20000"/>
              </a:spcBef>
              <a:defRPr lang="ru-RU" sz="1477" kern="1200" smtClean="0">
                <a:solidFill>
                  <a:srgbClr val="3D464A"/>
                </a:solidFill>
                <a:latin typeface="Europe" pitchFamily="50" charset="-52"/>
                <a:ea typeface="+mn-ea"/>
                <a:cs typeface="+mn-cs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29AD6E-1151-4AD4-93DA-CA48E13E725D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76B4AC-4681-45F6-84FE-3A2351832B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07DAD4-4BC5-411B-BEFF-A7FFFEC3A95D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3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90067-12EE-4339-A8B9-04AF52B9E2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5CE9F9-3936-F64D-B662-048E6E31ED59}" type="datetimeFigureOut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60F21E-95BE-4D7A-A838-33DE1EA0BE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62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254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250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813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939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501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F8E816-99EE-418A-9918-2AF4DA7C30BB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BA23F3C-8ACF-4A95-97D2-CADDB11F66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5B3FF4-56E0-477C-8674-0A5A9F66D7CC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59C2C8-5BAF-494E-8137-519297B13E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176213"/>
            <a:ext cx="10324123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r>
              <a:rPr lang="en-US" smtClean="0"/>
              <a:t/>
            </a:r>
            <a:br>
              <a:rPr lang="en-US" smtClean="0"/>
            </a:br>
            <a:r>
              <a:rPr lang="ru-RU" smtClean="0"/>
              <a:t>презентации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238251"/>
            <a:ext cx="10972800" cy="488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31" b="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0123D31B-6DE2-49A7-91BF-0A8400E2B8B9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54" b="0">
                <a:solidFill>
                  <a:schemeClr val="tx1">
                    <a:tint val="75000"/>
                  </a:schemeClr>
                </a:solidFill>
                <a:latin typeface="Europe" pitchFamily="50" charset="-52"/>
                <a:cs typeface="+mn-cs"/>
              </a:defRPr>
            </a:lvl1pPr>
          </a:lstStyle>
          <a:p>
            <a:pPr>
              <a:defRPr/>
            </a:pPr>
            <a:fld id="{41B9A467-7F17-4898-B37F-D6D2DB6785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94" r:id="rId7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5416" kern="1200">
          <a:solidFill>
            <a:srgbClr val="3D464A"/>
          </a:solidFill>
          <a:latin typeface="Europe" pitchFamily="50" charset="-52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5416">
          <a:solidFill>
            <a:srgbClr val="3D464A"/>
          </a:solidFill>
          <a:latin typeface="Europe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5416">
          <a:solidFill>
            <a:srgbClr val="3D464A"/>
          </a:solidFill>
          <a:latin typeface="Europe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5416">
          <a:solidFill>
            <a:srgbClr val="3D464A"/>
          </a:solidFill>
          <a:latin typeface="Europe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5416">
          <a:solidFill>
            <a:srgbClr val="3D464A"/>
          </a:solidFill>
          <a:latin typeface="Europe" pitchFamily="2" charset="0"/>
        </a:defRPr>
      </a:lvl5pPr>
      <a:lvl6pPr marL="562722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6pPr>
      <a:lvl7pPr marL="1125444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7pPr>
      <a:lvl8pPr marL="1688165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8pPr>
      <a:lvl9pPr marL="2250887" algn="l" rtl="0" fontAlgn="base">
        <a:spcBef>
          <a:spcPct val="0"/>
        </a:spcBef>
        <a:spcAft>
          <a:spcPct val="0"/>
        </a:spcAft>
        <a:defRPr>
          <a:solidFill>
            <a:srgbClr val="3D464A"/>
          </a:solidFill>
          <a:latin typeface="Europe" pitchFamily="2" charset="0"/>
        </a:defRPr>
      </a:lvl9pPr>
    </p:titleStyle>
    <p:bodyStyle>
      <a:lvl1pPr marL="422041" indent="-422041" algn="l" rtl="0" eaLnBrk="0" fontAlgn="base" hangingPunct="0">
        <a:spcBef>
          <a:spcPct val="20000"/>
        </a:spcBef>
        <a:spcAft>
          <a:spcPct val="0"/>
        </a:spcAft>
        <a:buSzPct val="80000"/>
        <a:buBlip>
          <a:blip r:embed="rId9"/>
        </a:buBlip>
        <a:defRPr sz="1477" kern="1200">
          <a:solidFill>
            <a:srgbClr val="3D464A"/>
          </a:solidFill>
          <a:latin typeface="Europe" pitchFamily="50" charset="-52"/>
          <a:ea typeface="+mn-ea"/>
          <a:cs typeface="+mn-cs"/>
        </a:defRPr>
      </a:lvl1pPr>
      <a:lvl2pPr marL="914423" indent="-351701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120000"/>
        <a:buFont typeface="Arial" pitchFamily="34" charset="0"/>
        <a:buChar char="•"/>
        <a:defRPr sz="1477" kern="1200">
          <a:solidFill>
            <a:srgbClr val="3D464A"/>
          </a:solidFill>
          <a:latin typeface="Europe" pitchFamily="50" charset="-52"/>
          <a:ea typeface="+mn-ea"/>
          <a:cs typeface="+mn-cs"/>
        </a:defRPr>
      </a:lvl2pPr>
      <a:lvl3pPr marL="1406804" indent="-281361" algn="l" rtl="0" eaLnBrk="0" fontAlgn="base" hangingPunct="0">
        <a:spcBef>
          <a:spcPct val="20000"/>
        </a:spcBef>
        <a:spcAft>
          <a:spcPct val="0"/>
        </a:spcAft>
        <a:buClr>
          <a:srgbClr val="FED208"/>
        </a:buClr>
        <a:buSzPct val="96000"/>
        <a:buFont typeface="Wingdings" pitchFamily="2" charset="2"/>
        <a:buChar char="§"/>
        <a:defRPr sz="1477" kern="1200">
          <a:solidFill>
            <a:srgbClr val="3D464A"/>
          </a:solidFill>
          <a:latin typeface="Europe" pitchFamily="50" charset="-52"/>
          <a:ea typeface="+mn-ea"/>
          <a:cs typeface="+mn-cs"/>
        </a:defRPr>
      </a:lvl3pPr>
      <a:lvl4pPr marL="1969526" indent="-28136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477" kern="1200">
          <a:solidFill>
            <a:srgbClr val="3D464A"/>
          </a:solidFill>
          <a:latin typeface="Europe" pitchFamily="50" charset="-52"/>
          <a:ea typeface="+mn-ea"/>
          <a:cs typeface="+mn-cs"/>
        </a:defRPr>
      </a:lvl4pPr>
      <a:lvl5pPr marL="2532248" indent="-28136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477" kern="1200">
          <a:solidFill>
            <a:srgbClr val="3D464A"/>
          </a:solidFill>
          <a:latin typeface="Europe" pitchFamily="50" charset="-52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Заголовок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1" name="Текст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7A4FFEE-10D0-4CE6-963B-33C481704142}" type="datetime1">
              <a:rPr lang="ru-RU"/>
              <a:pPr>
                <a:defRPr/>
              </a:pPr>
              <a:t>01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77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806AE7F-0F01-4C9E-8F5E-D2BAB4A799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416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5pPr>
      <a:lvl6pPr marL="562722" algn="ctr" rtl="0" fontAlgn="base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6pPr>
      <a:lvl7pPr marL="1125444" algn="ctr" rtl="0" fontAlgn="base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7pPr>
      <a:lvl8pPr marL="1688165" algn="ctr" rtl="0" fontAlgn="base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8pPr>
      <a:lvl9pPr marL="2250887" algn="ctr" rtl="0" fontAlgn="base">
        <a:spcBef>
          <a:spcPct val="0"/>
        </a:spcBef>
        <a:spcAft>
          <a:spcPct val="0"/>
        </a:spcAft>
        <a:defRPr sz="5416">
          <a:solidFill>
            <a:schemeClr val="tx1"/>
          </a:solidFill>
          <a:latin typeface="Calibri" pitchFamily="34" charset="0"/>
        </a:defRPr>
      </a:lvl9pPr>
    </p:titleStyle>
    <p:bodyStyle>
      <a:lvl1pPr marL="422041" indent="-42204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939" kern="1200">
          <a:solidFill>
            <a:schemeClr val="tx1"/>
          </a:solidFill>
          <a:latin typeface="+mn-lt"/>
          <a:ea typeface="+mn-ea"/>
          <a:cs typeface="+mn-cs"/>
        </a:defRPr>
      </a:lvl1pPr>
      <a:lvl2pPr marL="914423" indent="-35170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446" kern="1200">
          <a:solidFill>
            <a:schemeClr val="tx1"/>
          </a:solidFill>
          <a:latin typeface="+mn-lt"/>
          <a:ea typeface="+mn-ea"/>
          <a:cs typeface="+mn-cs"/>
        </a:defRPr>
      </a:lvl2pPr>
      <a:lvl3pPr marL="1406804" indent="-28136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954" kern="1200">
          <a:solidFill>
            <a:schemeClr val="tx1"/>
          </a:solidFill>
          <a:latin typeface="+mn-lt"/>
          <a:ea typeface="+mn-ea"/>
          <a:cs typeface="+mn-cs"/>
        </a:defRPr>
      </a:lvl3pPr>
      <a:lvl4pPr marL="1969526" indent="-28136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462" kern="1200">
          <a:solidFill>
            <a:schemeClr val="tx1"/>
          </a:solidFill>
          <a:latin typeface="+mn-lt"/>
          <a:ea typeface="+mn-ea"/>
          <a:cs typeface="+mn-cs"/>
        </a:defRPr>
      </a:lvl4pPr>
      <a:lvl5pPr marL="2532248" indent="-281361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462" kern="1200">
          <a:solidFill>
            <a:schemeClr val="tx1"/>
          </a:solidFill>
          <a:latin typeface="+mn-lt"/>
          <a:ea typeface="+mn-ea"/>
          <a:cs typeface="+mn-cs"/>
        </a:defRPr>
      </a:lvl5pPr>
      <a:lvl6pPr marL="3094970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6pPr>
      <a:lvl7pPr marL="3657691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7pPr>
      <a:lvl8pPr marL="4220413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8pPr>
      <a:lvl9pPr marL="4783135" indent="-281361" algn="l" defTabSz="1125444" rtl="0" eaLnBrk="1" latinLnBrk="0" hangingPunct="1">
        <a:spcBef>
          <a:spcPct val="20000"/>
        </a:spcBef>
        <a:buFont typeface="Arial" pitchFamily="34" charset="0"/>
        <a:buChar char="•"/>
        <a:defRPr sz="24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72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44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165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887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609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331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9052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774" algn="l" defTabSz="1125444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.jpeg"/><Relationship Id="rId7" Type="http://schemas.openxmlformats.org/officeDocument/2006/relationships/image" Target="../media/image6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.png"/><Relationship Id="rId5" Type="http://schemas.openxmlformats.org/officeDocument/2006/relationships/image" Target="../media/image1.jpeg"/><Relationship Id="rId4" Type="http://schemas.openxmlformats.org/officeDocument/2006/relationships/image" Target="../media/image4.png"/><Relationship Id="rId9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image" Target="../media/image10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11" Type="http://schemas.openxmlformats.org/officeDocument/2006/relationships/image" Target="../media/image6.png"/><Relationship Id="rId5" Type="http://schemas.openxmlformats.org/officeDocument/2006/relationships/image" Target="../media/image2.png"/><Relationship Id="rId10" Type="http://schemas.openxmlformats.org/officeDocument/2006/relationships/image" Target="../media/image5.png"/><Relationship Id="rId4" Type="http://schemas.openxmlformats.org/officeDocument/2006/relationships/image" Target="../media/image11.png"/><Relationship Id="rId9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2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openxmlformats.org/officeDocument/2006/relationships/image" Target="../media/image1.jpe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3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11" Type="http://schemas.openxmlformats.org/officeDocument/2006/relationships/image" Target="../media/image1.jpe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4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11" Type="http://schemas.openxmlformats.org/officeDocument/2006/relationships/image" Target="../media/image1.jpe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5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11" Type="http://schemas.openxmlformats.org/officeDocument/2006/relationships/image" Target="../media/image1.jpe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6.jpeg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6" Type="http://schemas.openxmlformats.org/officeDocument/2006/relationships/image" Target="../media/image4.png"/><Relationship Id="rId11" Type="http://schemas.openxmlformats.org/officeDocument/2006/relationships/image" Target="../media/image1.jpeg"/><Relationship Id="rId5" Type="http://schemas.openxmlformats.org/officeDocument/2006/relationships/image" Target="../media/image2.png"/><Relationship Id="rId10" Type="http://schemas.openxmlformats.org/officeDocument/2006/relationships/image" Target="../media/image6.png"/><Relationship Id="rId4" Type="http://schemas.openxmlformats.org/officeDocument/2006/relationships/image" Target="../media/image11.png"/><Relationship Id="rId9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11" Type="http://schemas.openxmlformats.org/officeDocument/2006/relationships/image" Target="../media/image6.png"/><Relationship Id="rId5" Type="http://schemas.openxmlformats.org/officeDocument/2006/relationships/image" Target="../media/image11.png"/><Relationship Id="rId10" Type="http://schemas.openxmlformats.org/officeDocument/2006/relationships/image" Target="../media/image5.png"/><Relationship Id="rId4" Type="http://schemas.openxmlformats.org/officeDocument/2006/relationships/image" Target="../media/image13.jpeg"/><Relationship Id="rId9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3" y="1"/>
            <a:ext cx="3208688" cy="6858000"/>
          </a:xfrm>
          <a:prstGeom prst="rect">
            <a:avLst/>
          </a:prstGeom>
        </p:spPr>
      </p:pic>
      <p:pic>
        <p:nvPicPr>
          <p:cNvPr id="64" name="Рисунок 1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23830"/>
          <a:stretch/>
        </p:blipFill>
        <p:spPr bwMode="auto">
          <a:xfrm>
            <a:off x="0" y="1117124"/>
            <a:ext cx="5093901" cy="4704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68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2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" name="Прямоугольник 80"/>
          <p:cNvSpPr/>
          <p:nvPr/>
        </p:nvSpPr>
        <p:spPr>
          <a:xfrm>
            <a:off x="9144270" y="3785929"/>
            <a:ext cx="304773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600" dirty="0" smtClean="0">
                <a:solidFill>
                  <a:srgbClr val="F26836"/>
                </a:solidFill>
                <a:latin typeface="Europe" pitchFamily="2" charset="0"/>
                <a:ea typeface="Europe Normal" charset="0"/>
                <a:cs typeface="Europe Normal" charset="0"/>
              </a:rPr>
              <a:t>2021</a:t>
            </a:r>
            <a:endParaRPr lang="ru-RU" sz="6600" dirty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20" name="Rectangle 30"/>
          <p:cNvSpPr txBox="1">
            <a:spLocks noChangeArrowheads="1"/>
          </p:cNvSpPr>
          <p:nvPr/>
        </p:nvSpPr>
        <p:spPr bwMode="auto">
          <a:xfrm>
            <a:off x="7824192" y="6264834"/>
            <a:ext cx="4631291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5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2400" dirty="0">
                <a:solidFill>
                  <a:srgbClr val="000000"/>
                </a:solidFill>
              </a:rPr>
              <a:t>АО «Куйбышевский НПЗ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6" y="4858746"/>
            <a:ext cx="1492235" cy="199925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70" y="3402806"/>
            <a:ext cx="1465442" cy="3463926"/>
          </a:xfrm>
          <a:prstGeom prst="rect">
            <a:avLst/>
          </a:prstGeom>
        </p:spPr>
      </p:pic>
      <p:sp>
        <p:nvSpPr>
          <p:cNvPr id="3" name="Месяц 2"/>
          <p:cNvSpPr/>
          <p:nvPr/>
        </p:nvSpPr>
        <p:spPr>
          <a:xfrm rot="21430718" flipH="1">
            <a:off x="3687287" y="-335257"/>
            <a:ext cx="2275824" cy="7515035"/>
          </a:xfrm>
          <a:prstGeom prst="moon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1207771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456972" y="1817685"/>
            <a:ext cx="761545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0" dirty="0" smtClean="0">
                <a:solidFill>
                  <a:srgbClr val="F26836"/>
                </a:solidFill>
                <a:latin typeface="Europe" pitchFamily="2" charset="0"/>
                <a:ea typeface="Europe Normal" charset="0"/>
                <a:cs typeface="Europe Normal" charset="0"/>
              </a:rPr>
              <a:t>«</a:t>
            </a:r>
            <a:r>
              <a:rPr lang="en-US" sz="6000" dirty="0" smtClean="0">
                <a:solidFill>
                  <a:srgbClr val="F26836"/>
                </a:solidFill>
                <a:latin typeface="Europe" pitchFamily="2" charset="0"/>
                <a:ea typeface="Europe Normal" charset="0"/>
                <a:cs typeface="Europe Normal" charset="0"/>
              </a:rPr>
              <a:t>#</a:t>
            </a:r>
            <a:r>
              <a:rPr lang="ru-RU" sz="6000" dirty="0" smtClean="0">
                <a:solidFill>
                  <a:srgbClr val="F26836"/>
                </a:solidFill>
                <a:latin typeface="Europe" pitchFamily="2" charset="0"/>
                <a:ea typeface="Europe Normal" charset="0"/>
                <a:cs typeface="Europe Normal" charset="0"/>
              </a:rPr>
              <a:t>МЫВМЕСТЕ»</a:t>
            </a:r>
            <a:endParaRPr lang="ru-RU" sz="6000" dirty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8" y="5821193"/>
            <a:ext cx="4415237" cy="1036807"/>
          </a:xfrm>
          <a:prstGeom prst="rect">
            <a:avLst/>
          </a:prstGeom>
        </p:spPr>
      </p:pic>
      <p:sp>
        <p:nvSpPr>
          <p:cNvPr id="62" name="Прямоугольник 137"/>
          <p:cNvSpPr/>
          <p:nvPr/>
        </p:nvSpPr>
        <p:spPr>
          <a:xfrm>
            <a:off x="3776346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326836" y="4422206"/>
            <a:ext cx="2201517" cy="246532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431704" y="4858745"/>
            <a:ext cx="1492235" cy="199925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 rot="336852">
            <a:off x="3240498" y="3949089"/>
            <a:ext cx="1465443" cy="3463926"/>
          </a:xfrm>
          <a:prstGeom prst="rect">
            <a:avLst/>
          </a:prstGeom>
        </p:spPr>
      </p:pic>
      <p:sp>
        <p:nvSpPr>
          <p:cNvPr id="19" name="Прямоугольник 66"/>
          <p:cNvSpPr/>
          <p:nvPr/>
        </p:nvSpPr>
        <p:spPr>
          <a:xfrm>
            <a:off x="-24680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sp>
        <p:nvSpPr>
          <p:cNvPr id="77" name="Прямоугольник 76"/>
          <p:cNvSpPr/>
          <p:nvPr/>
        </p:nvSpPr>
        <p:spPr>
          <a:xfrm>
            <a:off x="-24680" y="188640"/>
            <a:ext cx="31427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uropeDemi" pitchFamily="2" charset="0"/>
                <a:ea typeface="Europe Normal" charset="0"/>
                <a:cs typeface="Europe Normal" charset="0"/>
              </a:rPr>
              <a:t>Международная </a:t>
            </a:r>
          </a:p>
          <a:p>
            <a:r>
              <a:rPr lang="ru-RU" sz="2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EuropeDemi" pitchFamily="2" charset="0"/>
                <a:ea typeface="Europe Normal" charset="0"/>
                <a:cs typeface="Europe Normal" charset="0"/>
              </a:rPr>
              <a:t>премия</a:t>
            </a:r>
          </a:p>
        </p:txBody>
      </p:sp>
      <p:pic>
        <p:nvPicPr>
          <p:cNvPr id="22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7258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Овал 39"/>
          <p:cNvSpPr/>
          <p:nvPr/>
        </p:nvSpPr>
        <p:spPr>
          <a:xfrm>
            <a:off x="-7404152" y="-3183601"/>
            <a:ext cx="12472730" cy="12472728"/>
          </a:xfrm>
          <a:prstGeom prst="ellipse">
            <a:avLst/>
          </a:prstGeom>
          <a:gradFill>
            <a:gsLst>
              <a:gs pos="44000">
                <a:schemeClr val="bg1"/>
              </a:gs>
              <a:gs pos="100000">
                <a:srgbClr val="FFE269"/>
              </a:gs>
            </a:gsLst>
            <a:lin ang="5400000" scaled="0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88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05335" y="0"/>
            <a:ext cx="6278777" cy="6858000"/>
          </a:xfrm>
          <a:prstGeom prst="rect">
            <a:avLst/>
          </a:prstGeom>
        </p:spPr>
      </p:pic>
      <p:sp>
        <p:nvSpPr>
          <p:cNvPr id="29" name="Овал 28"/>
          <p:cNvSpPr/>
          <p:nvPr/>
        </p:nvSpPr>
        <p:spPr>
          <a:xfrm>
            <a:off x="-5491480" y="-1303338"/>
            <a:ext cx="8712200" cy="8712201"/>
          </a:xfrm>
          <a:prstGeom prst="ellipse">
            <a:avLst/>
          </a:prstGeom>
          <a:gradFill>
            <a:gsLst>
              <a:gs pos="0">
                <a:srgbClr val="FFD200"/>
              </a:gs>
              <a:gs pos="100000">
                <a:schemeClr val="bg1"/>
              </a:gs>
            </a:gsLst>
            <a:lin ang="5400000" scaled="0"/>
          </a:gra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19" name="Прямоугольник 66"/>
          <p:cNvSpPr/>
          <p:nvPr/>
        </p:nvSpPr>
        <p:spPr>
          <a:xfrm>
            <a:off x="-3240405" y="1588"/>
            <a:ext cx="6018213" cy="111442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17692" h="1113433">
                <a:moveTo>
                  <a:pt x="0" y="0"/>
                </a:moveTo>
                <a:lnTo>
                  <a:pt x="5230419" y="0"/>
                </a:lnTo>
                <a:cubicBezTo>
                  <a:pt x="5431167" y="196740"/>
                  <a:pt x="5796944" y="670247"/>
                  <a:pt x="6017692" y="1113433"/>
                </a:cubicBezTo>
                <a:lnTo>
                  <a:pt x="0" y="1113433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2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3457548" y="306386"/>
            <a:ext cx="629925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ru-RU" sz="4000" b="1" dirty="0" smtClean="0">
                <a:solidFill>
                  <a:schemeClr val="bg1"/>
                </a:solidFill>
                <a:latin typeface="+mn-lt"/>
              </a:rPr>
              <a:t>Сведения об организации</a:t>
            </a:r>
            <a:endParaRPr lang="ru-RU" sz="4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260115" y="1521874"/>
            <a:ext cx="4624762" cy="107721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+mn-lt"/>
                <a:ea typeface="Europe Normal" charset="0"/>
                <a:cs typeface="Europe Normal" charset="0"/>
              </a:rPr>
              <a:t>Ассортимент </a:t>
            </a:r>
            <a:r>
              <a:rPr lang="ru-RU" sz="1600" b="1" dirty="0">
                <a:latin typeface="+mn-lt"/>
                <a:ea typeface="Europe Normal" charset="0"/>
                <a:cs typeface="Europe Normal" charset="0"/>
              </a:rPr>
              <a:t>основной вырабатываемой продукции: </a:t>
            </a:r>
            <a:r>
              <a:rPr lang="ru-RU" sz="1600" dirty="0" err="1">
                <a:latin typeface="+mn-lt"/>
                <a:ea typeface="Europe Normal" charset="0"/>
                <a:cs typeface="Europe Normal" charset="0"/>
              </a:rPr>
              <a:t>автобензины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 и дизельные топлива экологического класса ЕВРО-5,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жиженные 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газы, сера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.</a:t>
            </a:r>
            <a:endParaRPr lang="ru-RU" sz="1600" dirty="0"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276324" y="3004488"/>
            <a:ext cx="4256861" cy="830997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+mn-lt"/>
                <a:ea typeface="Europe Normal" charset="0"/>
                <a:cs typeface="Europe Normal" charset="0"/>
              </a:rPr>
              <a:t>Система </a:t>
            </a:r>
            <a:r>
              <a:rPr lang="ru-RU" sz="1600" b="1" dirty="0">
                <a:latin typeface="+mn-lt"/>
                <a:ea typeface="Europe Normal" charset="0"/>
                <a:cs typeface="Europe Normal" charset="0"/>
              </a:rPr>
              <a:t>менеджмента качества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ертифицирована по международному стандарту ISO 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9001:2008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.</a:t>
            </a:r>
            <a:endParaRPr lang="ru-RU" sz="1600" dirty="0"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262978" y="4316543"/>
            <a:ext cx="4621899" cy="1077218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+mn-lt"/>
                <a:ea typeface="Europe Normal" charset="0"/>
                <a:cs typeface="Europe Normal" charset="0"/>
              </a:rPr>
              <a:t>Система </a:t>
            </a:r>
            <a:r>
              <a:rPr lang="ru-RU" sz="1600" b="1" dirty="0">
                <a:latin typeface="+mn-lt"/>
                <a:ea typeface="Europe Normal" charset="0"/>
                <a:cs typeface="Europe Normal" charset="0"/>
              </a:rPr>
              <a:t>управления промышленной безопасностью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, охраной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труда 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и окружающей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реды сертифицирована по международному стандарту 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OHSAS 18001:2007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и  ISO 14001:2004.0</a:t>
            </a:r>
            <a:endParaRPr lang="ru-RU" sz="1600" dirty="0"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31" name="Заголовок 1"/>
          <p:cNvSpPr txBox="1">
            <a:spLocks/>
          </p:cNvSpPr>
          <p:nvPr/>
        </p:nvSpPr>
        <p:spPr bwMode="auto">
          <a:xfrm>
            <a:off x="228960" y="1535867"/>
            <a:ext cx="2991759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ru-RU" sz="4000" b="1" dirty="0" smtClean="0">
                <a:solidFill>
                  <a:srgbClr val="F26836"/>
                </a:solidFill>
                <a:latin typeface="Europe" pitchFamily="50" charset="-52"/>
              </a:rPr>
              <a:t>1945 </a:t>
            </a:r>
            <a:r>
              <a:rPr lang="ru-RU" sz="2800" b="1" dirty="0" smtClean="0">
                <a:solidFill>
                  <a:srgbClr val="F26836"/>
                </a:solidFill>
                <a:latin typeface="Europe" pitchFamily="50" charset="-52"/>
              </a:rPr>
              <a:t>год</a:t>
            </a:r>
            <a:endParaRPr lang="ru-RU" sz="2800" b="1" dirty="0">
              <a:solidFill>
                <a:srgbClr val="F26836"/>
              </a:solidFill>
              <a:latin typeface="Europe" pitchFamily="50" charset="-52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29714" y="2095844"/>
            <a:ext cx="3622205" cy="58477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800" dirty="0" smtClean="0">
                <a:latin typeface="+mn-lt"/>
                <a:ea typeface="Europe Normal" charset="0"/>
                <a:cs typeface="Europe Normal" charset="0"/>
              </a:rPr>
              <a:t>пуск завода </a:t>
            </a:r>
            <a:r>
              <a:rPr lang="ru-RU" sz="1800" dirty="0">
                <a:latin typeface="+mn-lt"/>
                <a:ea typeface="Europe Normal" charset="0"/>
                <a:cs typeface="Europe Normal" charset="0"/>
              </a:rPr>
              <a:t>в эксплуатацию </a:t>
            </a:r>
            <a:r>
              <a:rPr lang="ru-RU" sz="1800" dirty="0" smtClean="0">
                <a:latin typeface="+mn-lt"/>
                <a:ea typeface="Europe Normal" charset="0"/>
                <a:cs typeface="Europe Normal" charset="0"/>
              </a:rPr>
              <a:t> </a:t>
            </a:r>
          </a:p>
          <a:p>
            <a:endParaRPr lang="ru-RU" sz="1400" dirty="0" smtClean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33" name="Заголовок 1"/>
          <p:cNvSpPr txBox="1">
            <a:spLocks/>
          </p:cNvSpPr>
          <p:nvPr/>
        </p:nvSpPr>
        <p:spPr bwMode="auto">
          <a:xfrm>
            <a:off x="228961" y="2513653"/>
            <a:ext cx="4974728" cy="1493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en-US" sz="4000" b="1" dirty="0" smtClean="0">
                <a:solidFill>
                  <a:srgbClr val="F26836"/>
                </a:solidFill>
                <a:latin typeface="Europe" pitchFamily="50" charset="-52"/>
              </a:rPr>
              <a:t>~7</a:t>
            </a:r>
            <a:r>
              <a:rPr lang="ru-RU" sz="4000" b="1" dirty="0" smtClean="0">
                <a:solidFill>
                  <a:srgbClr val="F26836"/>
                </a:solidFill>
                <a:latin typeface="Europe" pitchFamily="50" charset="-52"/>
              </a:rPr>
              <a:t> </a:t>
            </a:r>
            <a:r>
              <a:rPr lang="ru-RU" sz="2800" b="1" dirty="0" smtClean="0">
                <a:solidFill>
                  <a:srgbClr val="F26836"/>
                </a:solidFill>
                <a:latin typeface="Europe" pitchFamily="50" charset="-52"/>
              </a:rPr>
              <a:t>млн т/год</a:t>
            </a:r>
            <a:endParaRPr lang="ru-RU" sz="2800" b="1" dirty="0">
              <a:solidFill>
                <a:srgbClr val="F26836"/>
              </a:solidFill>
              <a:latin typeface="Europe" pitchFamily="50" charset="-52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9714" y="3614343"/>
            <a:ext cx="3622205" cy="369332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800" dirty="0" smtClean="0">
                <a:latin typeface="+mn-lt"/>
                <a:ea typeface="Europe Normal" charset="0"/>
                <a:cs typeface="Europe Normal" charset="0"/>
              </a:rPr>
              <a:t>мощность предприятия</a:t>
            </a:r>
          </a:p>
        </p:txBody>
      </p:sp>
      <p:sp>
        <p:nvSpPr>
          <p:cNvPr id="35" name="Заголовок 1"/>
          <p:cNvSpPr txBox="1">
            <a:spLocks/>
          </p:cNvSpPr>
          <p:nvPr/>
        </p:nvSpPr>
        <p:spPr bwMode="auto">
          <a:xfrm>
            <a:off x="82563" y="4223223"/>
            <a:ext cx="3138156" cy="5493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ru-RU" sz="4000" b="1" dirty="0" smtClean="0">
                <a:solidFill>
                  <a:srgbClr val="F26836"/>
                </a:solidFill>
                <a:latin typeface="Europe" pitchFamily="50" charset="-52"/>
              </a:rPr>
              <a:t>18 </a:t>
            </a:r>
            <a:r>
              <a:rPr lang="ru-RU" sz="2800" b="1" dirty="0" smtClean="0">
                <a:solidFill>
                  <a:srgbClr val="F26836"/>
                </a:solidFill>
                <a:latin typeface="Europe" pitchFamily="50" charset="-52"/>
              </a:rPr>
              <a:t>установок</a:t>
            </a:r>
            <a:endParaRPr lang="ru-RU" sz="2800" b="1" dirty="0">
              <a:solidFill>
                <a:srgbClr val="F26836"/>
              </a:solidFill>
              <a:latin typeface="Europe" pitchFamily="50" charset="-52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13709" y="4966658"/>
            <a:ext cx="3622205" cy="12003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Количество</a:t>
            </a:r>
          </a:p>
          <a:p>
            <a:pPr>
              <a:spcBef>
                <a:spcPts val="600"/>
              </a:spcBef>
            </a:pP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т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ехнологических</a:t>
            </a:r>
          </a:p>
          <a:p>
            <a:pPr>
              <a:spcBef>
                <a:spcPts val="600"/>
              </a:spcBef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бъектов</a:t>
            </a:r>
          </a:p>
          <a:p>
            <a:endParaRPr lang="ru-RU" sz="1400" dirty="0" smtClean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273782" y="2095844"/>
            <a:ext cx="2979352" cy="304"/>
          </a:xfrm>
          <a:prstGeom prst="line">
            <a:avLst/>
          </a:prstGeom>
          <a:ln w="19050">
            <a:headEnd type="none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273782" y="3556690"/>
            <a:ext cx="3168817" cy="0"/>
          </a:xfrm>
          <a:prstGeom prst="line">
            <a:avLst/>
          </a:prstGeom>
          <a:ln w="19050"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73782" y="5023797"/>
            <a:ext cx="2710718" cy="0"/>
          </a:xfrm>
          <a:prstGeom prst="line">
            <a:avLst/>
          </a:prstGeom>
          <a:ln w="19050">
            <a:tailEnd type="oval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1" name="Прямоугольник 15"/>
          <p:cNvSpPr/>
          <p:nvPr/>
        </p:nvSpPr>
        <p:spPr>
          <a:xfrm flipV="1">
            <a:off x="-744760" y="6021287"/>
            <a:ext cx="5255443" cy="1008159"/>
          </a:xfrm>
          <a:custGeom>
            <a:avLst/>
            <a:gdLst>
              <a:gd name="connsiteX0" fmla="*/ 0 w 4355975"/>
              <a:gd name="connsiteY0" fmla="*/ 0 h 1197673"/>
              <a:gd name="connsiteX1" fmla="*/ 4355975 w 4355975"/>
              <a:gd name="connsiteY1" fmla="*/ 0 h 1197673"/>
              <a:gd name="connsiteX2" fmla="*/ 4355975 w 4355975"/>
              <a:gd name="connsiteY2" fmla="*/ 1197673 h 1197673"/>
              <a:gd name="connsiteX3" fmla="*/ 0 w 4355975"/>
              <a:gd name="connsiteY3" fmla="*/ 1197673 h 1197673"/>
              <a:gd name="connsiteX4" fmla="*/ 0 w 4355975"/>
              <a:gd name="connsiteY4" fmla="*/ 0 h 1197673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10451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35165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55975"/>
              <a:gd name="connsiteY0" fmla="*/ 4119 h 1201792"/>
              <a:gd name="connsiteX1" fmla="*/ 3635165 w 4355975"/>
              <a:gd name="connsiteY1" fmla="*/ 0 h 1201792"/>
              <a:gd name="connsiteX2" fmla="*/ 4355975 w 4355975"/>
              <a:gd name="connsiteY2" fmla="*/ 1201792 h 1201792"/>
              <a:gd name="connsiteX3" fmla="*/ 0 w 4355975"/>
              <a:gd name="connsiteY3" fmla="*/ 1201792 h 1201792"/>
              <a:gd name="connsiteX4" fmla="*/ 0 w 4355975"/>
              <a:gd name="connsiteY4" fmla="*/ 4119 h 1201792"/>
              <a:gd name="connsiteX0" fmla="*/ 0 w 4376570"/>
              <a:gd name="connsiteY0" fmla="*/ 4119 h 1201792"/>
              <a:gd name="connsiteX1" fmla="*/ 3635165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35165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35165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35165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35165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18691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  <a:gd name="connsiteX0" fmla="*/ 0 w 4376570"/>
              <a:gd name="connsiteY0" fmla="*/ 4119 h 1201792"/>
              <a:gd name="connsiteX1" fmla="*/ 3618691 w 4376570"/>
              <a:gd name="connsiteY1" fmla="*/ 0 h 1201792"/>
              <a:gd name="connsiteX2" fmla="*/ 4376570 w 4376570"/>
              <a:gd name="connsiteY2" fmla="*/ 1201792 h 1201792"/>
              <a:gd name="connsiteX3" fmla="*/ 0 w 4376570"/>
              <a:gd name="connsiteY3" fmla="*/ 1201792 h 1201792"/>
              <a:gd name="connsiteX4" fmla="*/ 0 w 4376570"/>
              <a:gd name="connsiteY4" fmla="*/ 4119 h 12017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76570" h="1201792">
                <a:moveTo>
                  <a:pt x="0" y="4119"/>
                </a:moveTo>
                <a:lnTo>
                  <a:pt x="3618691" y="0"/>
                </a:lnTo>
                <a:cubicBezTo>
                  <a:pt x="3887807" y="346242"/>
                  <a:pt x="4222797" y="850622"/>
                  <a:pt x="4376570" y="1201792"/>
                </a:cubicBezTo>
                <a:lnTo>
                  <a:pt x="0" y="1201792"/>
                </a:lnTo>
                <a:lnTo>
                  <a:pt x="0" y="4119"/>
                </a:ln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 dirty="0"/>
          </a:p>
        </p:txBody>
      </p:sp>
      <p:sp>
        <p:nvSpPr>
          <p:cNvPr id="43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4" name="Дуга 43"/>
          <p:cNvSpPr/>
          <p:nvPr/>
        </p:nvSpPr>
        <p:spPr>
          <a:xfrm rot="5612120">
            <a:off x="-7513161" y="-3305969"/>
            <a:ext cx="12606338" cy="12607925"/>
          </a:xfrm>
          <a:prstGeom prst="arc">
            <a:avLst/>
          </a:prstGeom>
          <a:ln w="28575">
            <a:solidFill>
              <a:srgbClr val="FF6600">
                <a:alpha val="76000"/>
              </a:srgbClr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5" name="Дуга 44"/>
          <p:cNvSpPr/>
          <p:nvPr/>
        </p:nvSpPr>
        <p:spPr>
          <a:xfrm rot="6130889">
            <a:off x="-7915593" y="-3708400"/>
            <a:ext cx="13422313" cy="13422313"/>
          </a:xfrm>
          <a:prstGeom prst="arc">
            <a:avLst/>
          </a:prstGeom>
          <a:ln w="793750">
            <a:solidFill>
              <a:srgbClr val="FFE575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just" eaLnBrk="1" hangingPunct="1">
              <a:defRPr/>
            </a:pPr>
            <a:endParaRPr lang="ru-RU" dirty="0"/>
          </a:p>
        </p:txBody>
      </p:sp>
      <p:sp>
        <p:nvSpPr>
          <p:cNvPr id="46" name="Дуга 45"/>
          <p:cNvSpPr/>
          <p:nvPr/>
        </p:nvSpPr>
        <p:spPr>
          <a:xfrm rot="6452946">
            <a:off x="-7689375" y="-3482181"/>
            <a:ext cx="13004801" cy="13006388"/>
          </a:xfrm>
          <a:prstGeom prst="arc">
            <a:avLst/>
          </a:prstGeom>
          <a:ln w="269875">
            <a:solidFill>
              <a:srgbClr val="FEAA02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just" eaLnBrk="1" hangingPunct="1">
              <a:defRPr/>
            </a:pPr>
            <a:endParaRPr lang="ru-RU" dirty="0"/>
          </a:p>
        </p:txBody>
      </p:sp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08018" y="6292319"/>
            <a:ext cx="9239250" cy="4924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600" dirty="0">
                <a:latin typeface="+mn-lt"/>
              </a:rPr>
              <a:t>АО «Куйбышевский НПЗ» входит в состав </a:t>
            </a:r>
            <a:r>
              <a:rPr lang="ru-RU" sz="1600" dirty="0" smtClean="0">
                <a:latin typeface="+mn-lt"/>
              </a:rPr>
              <a:t>самарской группы </a:t>
            </a:r>
          </a:p>
          <a:p>
            <a:pPr marL="833438" indent="-833438" defTabSz="955675">
              <a:tabLst>
                <a:tab pos="831850" algn="l"/>
              </a:tabLst>
            </a:pPr>
            <a:r>
              <a:rPr lang="ru-RU" sz="1600" dirty="0" smtClean="0">
                <a:latin typeface="+mn-lt"/>
              </a:rPr>
              <a:t>нефтеперерабатывающих </a:t>
            </a:r>
            <a:r>
              <a:rPr lang="ru-RU" sz="1600" dirty="0">
                <a:latin typeface="+mn-lt"/>
              </a:rPr>
              <a:t>заводов  НК «Роснефть»</a:t>
            </a:r>
          </a:p>
        </p:txBody>
      </p:sp>
      <p:sp>
        <p:nvSpPr>
          <p:cNvPr id="39" name="McK 5. Source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2</a:t>
            </a:r>
            <a:endParaRPr lang="ru-RU" sz="1400" dirty="0">
              <a:latin typeface="Europe" pitchFamily="2" charset="0"/>
            </a:endParaRPr>
          </a:p>
        </p:txBody>
      </p:sp>
      <p:sp>
        <p:nvSpPr>
          <p:cNvPr id="30" name="Rectangle 30"/>
          <p:cNvSpPr txBox="1">
            <a:spLocks noChangeArrowheads="1"/>
          </p:cNvSpPr>
          <p:nvPr/>
        </p:nvSpPr>
        <p:spPr bwMode="auto">
          <a:xfrm>
            <a:off x="312218" y="6153659"/>
            <a:ext cx="2658456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7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</p:spTree>
    <p:extLst>
      <p:ext uri="{BB962C8B-B14F-4D97-AF65-F5344CB8AC3E}">
        <p14:creationId xmlns:p14="http://schemas.microsoft.com/office/powerpoint/2010/main" val="2436778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7" dur="2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  <p:bldP spid="44" grpId="0" animBg="1"/>
      <p:bldP spid="45" grpId="0" animBg="1"/>
      <p:bldP spid="4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497" b="-1430"/>
          <a:stretch/>
        </p:blipFill>
        <p:spPr>
          <a:xfrm>
            <a:off x="4707511" y="1098295"/>
            <a:ext cx="7504231" cy="5299889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1171600"/>
            <a:ext cx="630455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А</a:t>
            </a:r>
            <a:r>
              <a:rPr lang="ru-RU" sz="2200" b="1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вторский коллектив: 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тдел по взаимодействию со СМИ и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бщественностью, внутренним коммуникациям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и корпоративной культуре АО «КНПЗ»</a:t>
            </a:r>
          </a:p>
          <a:p>
            <a:pPr defTabSz="576000"/>
            <a:endParaRPr lang="ru-RU" sz="16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3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sp>
        <p:nvSpPr>
          <p:cNvPr id="56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8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1" y="2667579"/>
            <a:ext cx="6304553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Сроки реализации проекта: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Проект приурочен к Международному дню защиты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детей. Проводится ежегодно</a:t>
            </a:r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, 1 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июня, в течение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еми лет. </a:t>
            </a:r>
          </a:p>
          <a:p>
            <a:pPr defTabSz="576000"/>
            <a:endParaRPr lang="ru-RU" sz="14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2032" y="3988979"/>
            <a:ext cx="6304553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Целевая аудитория: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Дети с ограниченными возможностями здоровья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(инвалидностью) в возрасте 7 - 13 лет,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п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роживающие в Куйбышевском районе г.о. Самары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(территория присутствия АО «КНПЗ»). </a:t>
            </a:r>
          </a:p>
          <a:p>
            <a:pPr defTabSz="576000"/>
            <a:endParaRPr lang="ru-RU" sz="14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9199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82" r="11752" b="614"/>
          <a:stretch/>
        </p:blipFill>
        <p:spPr>
          <a:xfrm>
            <a:off x="4775176" y="1066799"/>
            <a:ext cx="7416824" cy="5193095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2032" y="1877483"/>
            <a:ext cx="6304553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4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Описание проекта</a:t>
            </a:r>
            <a:endParaRPr lang="ru-RU" sz="24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ПРОБЛЕМАТИКА:</a:t>
            </a: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Проект направлен на преодоление социальной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и часто физической изоляции детей с физическими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недугами, не имеющих порой возможность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б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еспрепятственно развиваться, общаться со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верстниками, участвовать в многочисленных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городских проектах и праздниках в силу собственных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граничений по здоровью и недоступности среды.</a:t>
            </a: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4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5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1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</p:spTree>
    <p:extLst>
      <p:ext uri="{BB962C8B-B14F-4D97-AF65-F5344CB8AC3E}">
        <p14:creationId xmlns:p14="http://schemas.microsoft.com/office/powerpoint/2010/main" val="307084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863" b="5900"/>
          <a:stretch/>
        </p:blipFill>
        <p:spPr>
          <a:xfrm>
            <a:off x="4956998" y="101683"/>
            <a:ext cx="7236296" cy="6453336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5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1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1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2032" y="2131241"/>
            <a:ext cx="6304553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Описание проекта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ЦЕЛИ: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+mn-lt"/>
              </a:rPr>
              <a:t>Повышение </a:t>
            </a:r>
            <a:r>
              <a:rPr lang="ru-RU" sz="1600" dirty="0">
                <a:latin typeface="+mn-lt"/>
              </a:rPr>
              <a:t>качества жизни детей с </a:t>
            </a:r>
            <a:r>
              <a:rPr lang="ru-RU" sz="1600" dirty="0" smtClean="0">
                <a:latin typeface="+mn-lt"/>
              </a:rPr>
              <a:t>ограниченными возможностями здоровья (ОВЗ).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+mn-lt"/>
              </a:rPr>
              <a:t>Социализация детей </a:t>
            </a:r>
            <a:r>
              <a:rPr lang="ru-RU" sz="1600" dirty="0">
                <a:latin typeface="+mn-lt"/>
              </a:rPr>
              <a:t>с </a:t>
            </a:r>
            <a:r>
              <a:rPr lang="ru-RU" sz="1600" dirty="0" smtClean="0">
                <a:latin typeface="+mn-lt"/>
              </a:rPr>
              <a:t>ОВЗ.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+mn-lt"/>
              </a:rPr>
              <a:t>Помощь детям с ОВЗ в преодоление</a:t>
            </a:r>
          </a:p>
          <a:p>
            <a:r>
              <a:rPr lang="ru-RU" sz="1600" dirty="0" smtClean="0">
                <a:latin typeface="+mn-lt"/>
              </a:rPr>
              <a:t>социальных</a:t>
            </a:r>
            <a:r>
              <a:rPr lang="ru-RU" sz="1600" dirty="0">
                <a:latin typeface="+mn-lt"/>
              </a:rPr>
              <a:t>, </a:t>
            </a:r>
            <a:r>
              <a:rPr lang="ru-RU" sz="1600" dirty="0" smtClean="0">
                <a:latin typeface="+mn-lt"/>
              </a:rPr>
              <a:t>физиологических</a:t>
            </a:r>
          </a:p>
          <a:p>
            <a:r>
              <a:rPr lang="ru-RU" sz="1600" dirty="0" smtClean="0">
                <a:latin typeface="+mn-lt"/>
              </a:rPr>
              <a:t>и </a:t>
            </a:r>
            <a:r>
              <a:rPr lang="ru-RU" sz="1600" dirty="0">
                <a:latin typeface="+mn-lt"/>
              </a:rPr>
              <a:t>психологических </a:t>
            </a:r>
            <a:r>
              <a:rPr lang="ru-RU" sz="1600" dirty="0" smtClean="0">
                <a:latin typeface="+mn-lt"/>
              </a:rPr>
              <a:t>барьеров.</a:t>
            </a:r>
          </a:p>
          <a:p>
            <a:pPr marL="285750" indent="-285750">
              <a:buFontTx/>
              <a:buChar char="-"/>
            </a:pPr>
            <a:r>
              <a:rPr lang="ru-RU" sz="1600" dirty="0" smtClean="0">
                <a:latin typeface="+mn-lt"/>
              </a:rPr>
              <a:t>Формирование </a:t>
            </a:r>
            <a:r>
              <a:rPr lang="ru-RU" sz="1600" dirty="0">
                <a:latin typeface="+mn-lt"/>
              </a:rPr>
              <a:t>толерантного </a:t>
            </a:r>
            <a:r>
              <a:rPr lang="ru-RU" sz="1600" dirty="0" smtClean="0">
                <a:latin typeface="+mn-lt"/>
              </a:rPr>
              <a:t>отношения</a:t>
            </a:r>
          </a:p>
          <a:p>
            <a:r>
              <a:rPr lang="ru-RU" sz="1600" dirty="0" smtClean="0">
                <a:latin typeface="+mn-lt"/>
              </a:rPr>
              <a:t>общества к детям </a:t>
            </a:r>
            <a:r>
              <a:rPr lang="ru-RU" sz="1600" dirty="0">
                <a:latin typeface="+mn-lt"/>
              </a:rPr>
              <a:t>с ОВЗ.</a:t>
            </a:r>
          </a:p>
          <a:p>
            <a:pPr defTabSz="576000"/>
            <a:endParaRPr lang="ru-RU" sz="1600" dirty="0" smtClean="0">
              <a:latin typeface="+mn-lt"/>
              <a:ea typeface="Europe Normal" charset="0"/>
              <a:cs typeface="Europe Normal" charset="0"/>
            </a:endParaRPr>
          </a:p>
          <a:p>
            <a:pPr defTabSz="576000"/>
            <a:endParaRPr lang="ru-RU" sz="14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7451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0345" y="1040977"/>
            <a:ext cx="9321655" cy="5225143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2941" y="2217801"/>
            <a:ext cx="6304553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Описание проекта</a:t>
            </a:r>
            <a:endParaRPr lang="ru-RU" sz="2200" dirty="0" smtClean="0">
              <a:latin typeface="+mn-lt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ПАРТНЁРЫ ПРОЕКТА:</a:t>
            </a: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МБУ Молодёжный центр Куйбышевского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района «Диалог»;</a:t>
            </a: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КГУ «Комплексный центр социального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бслуживания населения Самарского округа»,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п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дразделение Куйбышевского района.</a:t>
            </a:r>
          </a:p>
          <a:p>
            <a:pPr defTabSz="576000"/>
            <a:endParaRPr lang="ru-RU" sz="14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6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5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1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</p:spTree>
    <p:extLst>
      <p:ext uri="{BB962C8B-B14F-4D97-AF65-F5344CB8AC3E}">
        <p14:creationId xmlns:p14="http://schemas.microsoft.com/office/powerpoint/2010/main" val="3529560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11777" b="-1772"/>
          <a:stretch/>
        </p:blipFill>
        <p:spPr>
          <a:xfrm>
            <a:off x="3968164" y="1023779"/>
            <a:ext cx="8223836" cy="5317740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1664708"/>
            <a:ext cx="6304553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Описание проекта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КОММУНИКАЦИОННАЯ СТРАТЕГИЯ: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Мероприятие представляет собой праздник,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рганизованный по принципу командного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оревнования, который предполагает прохождение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тематических станций.</a:t>
            </a:r>
          </a:p>
          <a:p>
            <a:pPr defTabSz="576000"/>
            <a:endParaRPr lang="ru-RU" sz="1600" dirty="0" smtClean="0">
              <a:latin typeface="+mn-lt"/>
              <a:ea typeface="Europe Normal" charset="0"/>
              <a:cs typeface="Europe Normal" charset="0"/>
            </a:endParaRP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Ежегодно меняется сценарий мероприятия: 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э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то может быть «Диско-</a:t>
            </a:r>
            <a:r>
              <a:rPr lang="ru-RU" sz="1600" dirty="0" err="1" smtClean="0">
                <a:latin typeface="+mn-lt"/>
                <a:ea typeface="Europe Normal" charset="0"/>
                <a:cs typeface="Europe Normal" charset="0"/>
              </a:rPr>
              <a:t>пати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», «Остров пиратов»,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«Ковбойская вечеринка» и т.д.</a:t>
            </a:r>
          </a:p>
          <a:p>
            <a:pPr defTabSz="576000"/>
            <a:endParaRPr lang="ru-RU" sz="1400" dirty="0" smtClean="0">
              <a:latin typeface="+mn-lt"/>
              <a:ea typeface="Europe Normal" charset="0"/>
              <a:cs typeface="Europe Normal" charset="0"/>
            </a:endParaRPr>
          </a:p>
          <a:p>
            <a:pPr defTabSz="576000"/>
            <a:endParaRPr lang="ru-RU" sz="1400" dirty="0">
              <a:latin typeface="EuropeDemi" pitchFamily="2" charset="0"/>
              <a:ea typeface="Europe Normal" charset="0"/>
              <a:cs typeface="Europe Normal" charset="0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7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5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1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</p:spTree>
    <p:extLst>
      <p:ext uri="{BB962C8B-B14F-4D97-AF65-F5344CB8AC3E}">
        <p14:creationId xmlns:p14="http://schemas.microsoft.com/office/powerpoint/2010/main" val="1061987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719" t="-486" r="5719" b="486"/>
          <a:stretch/>
        </p:blipFill>
        <p:spPr>
          <a:xfrm>
            <a:off x="2538530" y="1027317"/>
            <a:ext cx="9321655" cy="5225143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357" y="-43918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8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1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1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958444"/>
            <a:ext cx="6304553" cy="44627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00">
              <a:lnSpc>
                <a:spcPct val="200000"/>
              </a:lnSpc>
            </a:pPr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Результаты:</a:t>
            </a:r>
            <a:endParaRPr lang="ru-RU" sz="2200" b="1" dirty="0" smtClean="0">
              <a:solidFill>
                <a:srgbClr val="F26836"/>
              </a:solidFill>
              <a:latin typeface="Europe" pitchFamily="2" charset="0"/>
              <a:ea typeface="Europe Normal" charset="0"/>
              <a:cs typeface="Europe Normal" charset="0"/>
            </a:endParaRP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Ежегодно в мероприятии принимают участие 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40-50 детей и столько же родителей.</a:t>
            </a:r>
          </a:p>
          <a:p>
            <a:pPr defTabSz="576000"/>
            <a:endParaRPr lang="ru-RU" sz="1600" dirty="0" smtClean="0">
              <a:latin typeface="+mn-lt"/>
              <a:ea typeface="Europe Normal" charset="0"/>
              <a:cs typeface="Europe Normal" charset="0"/>
            </a:endParaRP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Ежегодно в мероприятии принимают участие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10-15 работников АО «КНПЗ» - молодых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специалистов, что способствует развитию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д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обровольческой инициативы на предприятии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и формированию активной социальной позиции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у работников завода. </a:t>
            </a:r>
          </a:p>
          <a:p>
            <a:pPr defTabSz="576000"/>
            <a:endParaRPr lang="ru-RU" sz="1600" dirty="0" smtClean="0">
              <a:latin typeface="+mn-lt"/>
              <a:ea typeface="Europe Normal" charset="0"/>
              <a:cs typeface="Europe Normal" charset="0"/>
            </a:endParaRPr>
          </a:p>
          <a:p>
            <a:pPr marL="285750" indent="-285750" defTabSz="576000">
              <a:buFontTx/>
              <a:buChar char="-"/>
            </a:pP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В процессе реализации мероприятия формируются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п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артнёрские отношения с муниципальными</a:t>
            </a:r>
          </a:p>
          <a:p>
            <a:pPr defTabSz="576000"/>
            <a:r>
              <a:rPr lang="ru-RU" sz="1600" dirty="0">
                <a:latin typeface="+mn-lt"/>
                <a:ea typeface="Europe Normal" charset="0"/>
                <a:cs typeface="Europe Normal" charset="0"/>
              </a:rPr>
              <a:t>у</a:t>
            </a:r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чреждениями и бюджетными организациями,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это помогает эффективному решению проблем</a:t>
            </a:r>
          </a:p>
          <a:p>
            <a:pPr defTabSz="576000"/>
            <a:r>
              <a:rPr lang="ru-RU" sz="1600" dirty="0" smtClean="0">
                <a:latin typeface="+mn-lt"/>
                <a:ea typeface="Europe Normal" charset="0"/>
                <a:cs typeface="Europe Normal" charset="0"/>
              </a:rPr>
              <a:t>территории. </a:t>
            </a:r>
          </a:p>
        </p:txBody>
      </p:sp>
    </p:spTree>
    <p:extLst>
      <p:ext uri="{BB962C8B-B14F-4D97-AF65-F5344CB8AC3E}">
        <p14:creationId xmlns:p14="http://schemas.microsoft.com/office/powerpoint/2010/main" val="2358316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74" r="22164" b="16144"/>
          <a:stretch/>
        </p:blipFill>
        <p:spPr>
          <a:xfrm>
            <a:off x="4705411" y="767280"/>
            <a:ext cx="7479532" cy="551858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489" t="26051" b="19339"/>
          <a:stretch/>
        </p:blipFill>
        <p:spPr>
          <a:xfrm>
            <a:off x="0" y="0"/>
            <a:ext cx="5087404" cy="6858000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35" t="14830" b="6163"/>
          <a:stretch/>
        </p:blipFill>
        <p:spPr>
          <a:xfrm>
            <a:off x="12032" y="0"/>
            <a:ext cx="3208688" cy="6858000"/>
          </a:xfrm>
          <a:prstGeom prst="rect">
            <a:avLst/>
          </a:prstGeom>
        </p:spPr>
      </p:pic>
      <p:sp>
        <p:nvSpPr>
          <p:cNvPr id="28" name="Прямоугольник 27"/>
          <p:cNvSpPr/>
          <p:nvPr/>
        </p:nvSpPr>
        <p:spPr>
          <a:xfrm>
            <a:off x="1207770" y="0"/>
            <a:ext cx="10984230" cy="1112838"/>
          </a:xfrm>
          <a:prstGeom prst="rect">
            <a:avLst/>
          </a:pr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31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14010" y="152400"/>
            <a:ext cx="1146175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Заголовок 1"/>
          <p:cNvSpPr txBox="1">
            <a:spLocks/>
          </p:cNvSpPr>
          <p:nvPr/>
        </p:nvSpPr>
        <p:spPr bwMode="auto">
          <a:xfrm>
            <a:off x="3462435" y="233093"/>
            <a:ext cx="7129061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Социальный проект</a:t>
            </a:r>
          </a:p>
          <a:p>
            <a:pPr algn="ctr" eaLnBrk="0" hangingPunct="0">
              <a:defRPr/>
            </a:pPr>
            <a:r>
              <a:rPr lang="ru-RU" sz="3200" b="1" dirty="0" smtClean="0">
                <a:solidFill>
                  <a:schemeClr val="bg1"/>
                </a:solidFill>
                <a:latin typeface="+mn-lt"/>
              </a:rPr>
              <a:t>«День безграничных возможностей»</a:t>
            </a:r>
            <a:endParaRPr lang="ru-RU" sz="32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1" name="Прямоугольник 137"/>
          <p:cNvSpPr/>
          <p:nvPr/>
        </p:nvSpPr>
        <p:spPr>
          <a:xfrm>
            <a:off x="3776345" y="6252460"/>
            <a:ext cx="8415655" cy="623004"/>
          </a:xfrm>
          <a:custGeom>
            <a:avLst/>
            <a:gdLst>
              <a:gd name="connsiteX0" fmla="*/ 0 w 5156200"/>
              <a:gd name="connsiteY0" fmla="*/ 0 h 513147"/>
              <a:gd name="connsiteX1" fmla="*/ 5156200 w 5156200"/>
              <a:gd name="connsiteY1" fmla="*/ 0 h 513147"/>
              <a:gd name="connsiteX2" fmla="*/ 5156200 w 5156200"/>
              <a:gd name="connsiteY2" fmla="*/ 513147 h 513147"/>
              <a:gd name="connsiteX3" fmla="*/ 0 w 5156200"/>
              <a:gd name="connsiteY3" fmla="*/ 513147 h 513147"/>
              <a:gd name="connsiteX4" fmla="*/ 0 w 5156200"/>
              <a:gd name="connsiteY4" fmla="*/ 0 h 513147"/>
              <a:gd name="connsiteX0" fmla="*/ 304800 w 5461000"/>
              <a:gd name="connsiteY0" fmla="*/ 0 h 513147"/>
              <a:gd name="connsiteX1" fmla="*/ 5461000 w 5461000"/>
              <a:gd name="connsiteY1" fmla="*/ 0 h 513147"/>
              <a:gd name="connsiteX2" fmla="*/ 5461000 w 5461000"/>
              <a:gd name="connsiteY2" fmla="*/ 513147 h 513147"/>
              <a:gd name="connsiteX3" fmla="*/ 0 w 5461000"/>
              <a:gd name="connsiteY3" fmla="*/ 487747 h 513147"/>
              <a:gd name="connsiteX4" fmla="*/ 304800 w 5461000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33575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33575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346364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346364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  <a:gd name="connsiteX0" fmla="*/ 271803 w 5489775"/>
              <a:gd name="connsiteY0" fmla="*/ 0 h 513147"/>
              <a:gd name="connsiteX1" fmla="*/ 5489775 w 5489775"/>
              <a:gd name="connsiteY1" fmla="*/ 0 h 513147"/>
              <a:gd name="connsiteX2" fmla="*/ 5489775 w 5489775"/>
              <a:gd name="connsiteY2" fmla="*/ 513147 h 513147"/>
              <a:gd name="connsiteX3" fmla="*/ 0 w 5489775"/>
              <a:gd name="connsiteY3" fmla="*/ 497339 h 513147"/>
              <a:gd name="connsiteX4" fmla="*/ 271803 w 5489775"/>
              <a:gd name="connsiteY4" fmla="*/ 0 h 5131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89775" h="513147">
                <a:moveTo>
                  <a:pt x="271803" y="0"/>
                </a:moveTo>
                <a:lnTo>
                  <a:pt x="5489775" y="0"/>
                </a:lnTo>
                <a:lnTo>
                  <a:pt x="5489775" y="513147"/>
                </a:lnTo>
                <a:lnTo>
                  <a:pt x="0" y="497339"/>
                </a:lnTo>
                <a:cubicBezTo>
                  <a:pt x="90259" y="356851"/>
                  <a:pt x="178200" y="191068"/>
                  <a:pt x="271803" y="0"/>
                </a:cubicBezTo>
                <a:close/>
              </a:path>
            </a:pathLst>
          </a:custGeom>
          <a:gradFill>
            <a:gsLst>
              <a:gs pos="0">
                <a:srgbClr val="FF6600"/>
              </a:gs>
              <a:gs pos="100000">
                <a:srgbClr val="FFD200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1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746111" y="6447297"/>
            <a:ext cx="267698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833438" indent="-833438" defTabSz="955675">
              <a:tabLst>
                <a:tab pos="831850" algn="l"/>
              </a:tabLst>
            </a:pPr>
            <a:r>
              <a:rPr lang="ru-RU" sz="1400" dirty="0" smtClean="0">
                <a:latin typeface="Europe" pitchFamily="2" charset="0"/>
              </a:rPr>
              <a:t>9</a:t>
            </a:r>
            <a:endParaRPr lang="ru-RU" sz="1400" dirty="0">
              <a:latin typeface="Europe" pitchFamily="2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3" b="13673"/>
          <a:stretch/>
        </p:blipFill>
        <p:spPr>
          <a:xfrm>
            <a:off x="12357" y="5821193"/>
            <a:ext cx="4415237" cy="1036807"/>
          </a:xfrm>
          <a:prstGeom prst="rect">
            <a:avLst/>
          </a:prstGeom>
        </p:spPr>
      </p:pic>
      <p:sp>
        <p:nvSpPr>
          <p:cNvPr id="50" name="Прямоугольник 66"/>
          <p:cNvSpPr/>
          <p:nvPr/>
        </p:nvSpPr>
        <p:spPr>
          <a:xfrm>
            <a:off x="2941" y="1588"/>
            <a:ext cx="2774868" cy="1115535"/>
          </a:xfrm>
          <a:custGeom>
            <a:avLst/>
            <a:gdLst>
              <a:gd name="connsiteX0" fmla="*/ 0 w 5006310"/>
              <a:gd name="connsiteY0" fmla="*/ 0 h 1113433"/>
              <a:gd name="connsiteX1" fmla="*/ 5006310 w 5006310"/>
              <a:gd name="connsiteY1" fmla="*/ 0 h 1113433"/>
              <a:gd name="connsiteX2" fmla="*/ 5006310 w 5006310"/>
              <a:gd name="connsiteY2" fmla="*/ 1113433 h 1113433"/>
              <a:gd name="connsiteX3" fmla="*/ 0 w 5006310"/>
              <a:gd name="connsiteY3" fmla="*/ 1113433 h 1113433"/>
              <a:gd name="connsiteX4" fmla="*/ 0 w 5006310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006310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00274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45492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13433"/>
              <a:gd name="connsiteX1" fmla="*/ 5230419 w 6017692"/>
              <a:gd name="connsiteY1" fmla="*/ 0 h 1113433"/>
              <a:gd name="connsiteX2" fmla="*/ 6017692 w 6017692"/>
              <a:gd name="connsiteY2" fmla="*/ 1113433 h 1113433"/>
              <a:gd name="connsiteX3" fmla="*/ 0 w 6017692"/>
              <a:gd name="connsiteY3" fmla="*/ 1113433 h 1113433"/>
              <a:gd name="connsiteX4" fmla="*/ 0 w 6017692"/>
              <a:gd name="connsiteY4" fmla="*/ 0 h 1113433"/>
              <a:gd name="connsiteX0" fmla="*/ 0 w 6017692"/>
              <a:gd name="connsiteY0" fmla="*/ 0 h 1126484"/>
              <a:gd name="connsiteX1" fmla="*/ 5230419 w 6017692"/>
              <a:gd name="connsiteY1" fmla="*/ 0 h 1126484"/>
              <a:gd name="connsiteX2" fmla="*/ 6017692 w 6017692"/>
              <a:gd name="connsiteY2" fmla="*/ 1113433 h 1126484"/>
              <a:gd name="connsiteX3" fmla="*/ 3213185 w 6017692"/>
              <a:gd name="connsiteY3" fmla="*/ 1126484 h 1126484"/>
              <a:gd name="connsiteX4" fmla="*/ 0 w 6017692"/>
              <a:gd name="connsiteY4" fmla="*/ 0 h 1126484"/>
              <a:gd name="connsiteX0" fmla="*/ 0 w 6017692"/>
              <a:gd name="connsiteY0" fmla="*/ 0 h 1114542"/>
              <a:gd name="connsiteX1" fmla="*/ 5230419 w 6017692"/>
              <a:gd name="connsiteY1" fmla="*/ 0 h 1114542"/>
              <a:gd name="connsiteX2" fmla="*/ 6017692 w 6017692"/>
              <a:gd name="connsiteY2" fmla="*/ 1113433 h 1114542"/>
              <a:gd name="connsiteX3" fmla="*/ 3225137 w 6017692"/>
              <a:gd name="connsiteY3" fmla="*/ 1114542 h 1114542"/>
              <a:gd name="connsiteX4" fmla="*/ 0 w 6017692"/>
              <a:gd name="connsiteY4" fmla="*/ 0 h 1114542"/>
              <a:gd name="connsiteX0" fmla="*/ 19806 w 2792555"/>
              <a:gd name="connsiteY0" fmla="*/ 11942 h 1114542"/>
              <a:gd name="connsiteX1" fmla="*/ 2005282 w 2792555"/>
              <a:gd name="connsiteY1" fmla="*/ 0 h 1114542"/>
              <a:gd name="connsiteX2" fmla="*/ 2792555 w 2792555"/>
              <a:gd name="connsiteY2" fmla="*/ 1113433 h 1114542"/>
              <a:gd name="connsiteX3" fmla="*/ 0 w 2792555"/>
              <a:gd name="connsiteY3" fmla="*/ 1114542 h 1114542"/>
              <a:gd name="connsiteX4" fmla="*/ 19806 w 2792555"/>
              <a:gd name="connsiteY4" fmla="*/ 11942 h 1114542"/>
              <a:gd name="connsiteX0" fmla="*/ 1879 w 2774628"/>
              <a:gd name="connsiteY0" fmla="*/ 11942 h 1114542"/>
              <a:gd name="connsiteX1" fmla="*/ 1987355 w 2774628"/>
              <a:gd name="connsiteY1" fmla="*/ 0 h 1114542"/>
              <a:gd name="connsiteX2" fmla="*/ 2774628 w 2774628"/>
              <a:gd name="connsiteY2" fmla="*/ 1113433 h 1114542"/>
              <a:gd name="connsiteX3" fmla="*/ 0 w 2774628"/>
              <a:gd name="connsiteY3" fmla="*/ 1114542 h 1114542"/>
              <a:gd name="connsiteX4" fmla="*/ 1879 w 2774628"/>
              <a:gd name="connsiteY4" fmla="*/ 11942 h 1114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4628" h="1114542">
                <a:moveTo>
                  <a:pt x="1879" y="11942"/>
                </a:moveTo>
                <a:lnTo>
                  <a:pt x="1987355" y="0"/>
                </a:lnTo>
                <a:cubicBezTo>
                  <a:pt x="2188103" y="196740"/>
                  <a:pt x="2553880" y="670247"/>
                  <a:pt x="2774628" y="1113433"/>
                </a:cubicBezTo>
                <a:lnTo>
                  <a:pt x="0" y="1114542"/>
                </a:lnTo>
                <a:cubicBezTo>
                  <a:pt x="626" y="747009"/>
                  <a:pt x="1253" y="379475"/>
                  <a:pt x="1879" y="1194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baseline="-25000"/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73" r="-1" b="56373"/>
          <a:stretch/>
        </p:blipFill>
        <p:spPr>
          <a:xfrm>
            <a:off x="3462435" y="4336551"/>
            <a:ext cx="2251638" cy="2521449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8" b="57686"/>
          <a:stretch/>
        </p:blipFill>
        <p:spPr>
          <a:xfrm>
            <a:off x="3601665" y="4858745"/>
            <a:ext cx="1492235" cy="1999255"/>
          </a:xfrm>
          <a:prstGeom prst="rect">
            <a:avLst/>
          </a:prstGeom>
        </p:spPr>
      </p:pic>
      <p:pic>
        <p:nvPicPr>
          <p:cNvPr id="59" name="Рисунок 58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128" b="41665"/>
          <a:stretch/>
        </p:blipFill>
        <p:spPr>
          <a:xfrm>
            <a:off x="3625869" y="3402806"/>
            <a:ext cx="1465443" cy="3463926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6803" y="434827"/>
            <a:ext cx="338437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«</a:t>
            </a:r>
            <a:r>
              <a:rPr lang="en-US" sz="200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#</a:t>
            </a:r>
            <a:r>
              <a:rPr lang="ru-RU" sz="200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МЫВМЕСТЕ</a:t>
            </a:r>
            <a:r>
              <a:rPr lang="ru-RU" sz="20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»</a:t>
            </a:r>
            <a:endParaRPr lang="ru-RU" sz="2000" dirty="0">
              <a:solidFill>
                <a:srgbClr val="F26836"/>
              </a:solidFill>
              <a:latin typeface="+mn-lt"/>
              <a:ea typeface="Europe Normal" charset="0"/>
              <a:cs typeface="Europe Normal" charset="0"/>
            </a:endParaRPr>
          </a:p>
        </p:txBody>
      </p:sp>
      <p:sp>
        <p:nvSpPr>
          <p:cNvPr id="21" name="Rectangle 30"/>
          <p:cNvSpPr txBox="1">
            <a:spLocks noChangeArrowheads="1"/>
          </p:cNvSpPr>
          <p:nvPr/>
        </p:nvSpPr>
        <p:spPr bwMode="auto">
          <a:xfrm>
            <a:off x="322216" y="5959818"/>
            <a:ext cx="2794319" cy="487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77900">
              <a:spcBef>
                <a:spcPct val="20000"/>
              </a:spcBef>
              <a:buSzPct val="80000"/>
              <a:buBlip>
                <a:blip r:embed="rId12"/>
              </a:buBlip>
              <a:defRPr sz="1200">
                <a:solidFill>
                  <a:srgbClr val="3D464A"/>
                </a:solidFill>
                <a:latin typeface="Europe" pitchFamily="2" charset="0"/>
              </a:defRPr>
            </a:lvl1pPr>
            <a:lvl2pPr marL="742950" indent="-285750" defTabSz="977900">
              <a:spcBef>
                <a:spcPct val="20000"/>
              </a:spcBef>
              <a:buClr>
                <a:srgbClr val="FED208"/>
              </a:buClr>
              <a:buSzPct val="120000"/>
              <a:buFont typeface="Arial" panose="020B0604020202020204" pitchFamily="34" charset="0"/>
              <a:buChar char="•"/>
              <a:defRPr sz="1200">
                <a:solidFill>
                  <a:srgbClr val="3D464A"/>
                </a:solidFill>
                <a:latin typeface="Europe" pitchFamily="2" charset="0"/>
              </a:defRPr>
            </a:lvl2pPr>
            <a:lvl3pPr marL="1143000" indent="-228600" defTabSz="977900">
              <a:spcBef>
                <a:spcPct val="20000"/>
              </a:spcBef>
              <a:buClr>
                <a:srgbClr val="FED208"/>
              </a:buClr>
              <a:buSzPct val="96000"/>
              <a:buFont typeface="Wingdings" panose="05000000000000000000" pitchFamily="2" charset="2"/>
              <a:buChar char="§"/>
              <a:defRPr sz="1200">
                <a:solidFill>
                  <a:srgbClr val="3D464A"/>
                </a:solidFill>
                <a:latin typeface="Europe" pitchFamily="2" charset="0"/>
              </a:defRPr>
            </a:lvl3pPr>
            <a:lvl4pPr marL="1600200" indent="-228600" defTabSz="977900">
              <a:spcBef>
                <a:spcPct val="20000"/>
              </a:spcBef>
              <a:buFont typeface="Arial" panose="020B0604020202020204" pitchFamily="34" charset="0"/>
              <a:buChar char="–"/>
              <a:defRPr sz="1200">
                <a:solidFill>
                  <a:srgbClr val="3D464A"/>
                </a:solidFill>
                <a:latin typeface="Europe" pitchFamily="2" charset="0"/>
              </a:defRPr>
            </a:lvl4pPr>
            <a:lvl5pPr marL="2057400" indent="-228600" defTabSz="977900">
              <a:spcBef>
                <a:spcPct val="20000"/>
              </a:spcBef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5pPr>
            <a:lvl6pPr marL="25146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6pPr>
            <a:lvl7pPr marL="29718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7pPr>
            <a:lvl8pPr marL="34290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8pPr>
            <a:lvl9pPr marL="3886200" indent="-228600" defTabSz="9779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defRPr sz="1200">
                <a:solidFill>
                  <a:srgbClr val="3D464A"/>
                </a:solidFill>
                <a:latin typeface="Europe" pitchFamily="2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ru-RU" altLang="ru-RU" sz="1800" dirty="0" smtClean="0">
                <a:solidFill>
                  <a:srgbClr val="000000"/>
                </a:solidFill>
                <a:latin typeface="+mn-lt"/>
              </a:rPr>
              <a:t>АО </a:t>
            </a:r>
            <a:r>
              <a:rPr lang="ru-RU" altLang="ru-RU" sz="1800" dirty="0">
                <a:solidFill>
                  <a:srgbClr val="000000"/>
                </a:solidFill>
                <a:latin typeface="+mn-lt"/>
              </a:rPr>
              <a:t>«Куйбышевский НПЗ»</a:t>
            </a:r>
          </a:p>
        </p:txBody>
      </p:sp>
      <p:sp>
        <p:nvSpPr>
          <p:cNvPr id="18" name="TextBox 19"/>
          <p:cNvSpPr txBox="1"/>
          <p:nvPr/>
        </p:nvSpPr>
        <p:spPr>
          <a:xfrm>
            <a:off x="81012" y="1919992"/>
            <a:ext cx="6221483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sz="8500" b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defTabSz="576000"/>
            <a:r>
              <a:rPr lang="ru-RU" sz="1400" dirty="0" smtClean="0">
                <a:latin typeface="EuropeDemi" pitchFamily="2" charset="0"/>
                <a:ea typeface="Europe Normal" charset="0"/>
                <a:cs typeface="Europe Normal" charset="0"/>
              </a:rPr>
              <a:t>   </a:t>
            </a:r>
            <a:r>
              <a:rPr lang="ru-RU" sz="2200" dirty="0" smtClean="0">
                <a:solidFill>
                  <a:srgbClr val="F26836"/>
                </a:solidFill>
                <a:latin typeface="+mn-lt"/>
                <a:ea typeface="Europe Normal" charset="0"/>
                <a:cs typeface="Europe Normal" charset="0"/>
              </a:rPr>
              <a:t>Контакты:</a:t>
            </a:r>
          </a:p>
          <a:p>
            <a:pPr defTabSz="576000"/>
            <a:r>
              <a:rPr lang="ru-RU" sz="2200" dirty="0" smtClean="0">
                <a:latin typeface="+mn-lt"/>
                <a:ea typeface="Europe Normal" charset="0"/>
                <a:cs typeface="Europe Normal" charset="0"/>
              </a:rPr>
              <a:t>АО «Куйбышевский НПЗ»</a:t>
            </a:r>
          </a:p>
          <a:p>
            <a:pPr defTabSz="576000"/>
            <a:r>
              <a:rPr lang="ru-RU" sz="2200" dirty="0">
                <a:latin typeface="+mn-lt"/>
                <a:ea typeface="Europe Normal" charset="0"/>
                <a:cs typeface="Europe Normal" charset="0"/>
              </a:rPr>
              <a:t>у</a:t>
            </a:r>
            <a:r>
              <a:rPr lang="ru-RU" sz="2200" dirty="0" smtClean="0">
                <a:latin typeface="+mn-lt"/>
                <a:ea typeface="Europe Normal" charset="0"/>
                <a:cs typeface="Europe Normal" charset="0"/>
              </a:rPr>
              <a:t>л. Грозненская, д. 25</a:t>
            </a:r>
          </a:p>
          <a:p>
            <a:pPr defTabSz="576000"/>
            <a:r>
              <a:rPr lang="ru-RU" sz="2200" dirty="0" smtClean="0">
                <a:latin typeface="+mn-lt"/>
                <a:ea typeface="Europe Normal" charset="0"/>
                <a:cs typeface="Europe Normal" charset="0"/>
              </a:rPr>
              <a:t>Тел.: 8(987) 900–16-47</a:t>
            </a:r>
          </a:p>
          <a:p>
            <a:pPr defTabSz="576000"/>
            <a:r>
              <a:rPr lang="ru-RU" sz="2200" dirty="0" smtClean="0">
                <a:latin typeface="+mn-lt"/>
                <a:ea typeface="Europe Normal" charset="0"/>
                <a:cs typeface="Europe Normal" charset="0"/>
              </a:rPr>
              <a:t>8(846) 307-40-24</a:t>
            </a:r>
            <a:endParaRPr lang="ru-RU" sz="1600" dirty="0" smtClean="0">
              <a:latin typeface="+mn-lt"/>
              <a:ea typeface="Europe Normal" charset="0"/>
              <a:cs typeface="Europe Norm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3613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i7FyfpusZ0.lIPOOntS8uw"/>
</p:tagLst>
</file>

<file path=ppt/theme/theme1.xml><?xml version="1.0" encoding="utf-8"?>
<a:theme xmlns:a="http://schemas.openxmlformats.org/drawingml/2006/main" name="внутренний слайд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384</TotalTime>
  <Words>552</Words>
  <Application>Microsoft Office PowerPoint</Application>
  <PresentationFormat>Произвольный</PresentationFormat>
  <Paragraphs>126</Paragraphs>
  <Slides>9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внутренний слайд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 шрифт Europe 20 pt</dc:title>
  <dc:creator>Лаврентьева Ирина Владимировна</dc:creator>
  <cp:lastModifiedBy>Борщова Ольга Валентиновна</cp:lastModifiedBy>
  <cp:revision>587</cp:revision>
  <cp:lastPrinted>2021-03-29T09:34:48Z</cp:lastPrinted>
  <dcterms:created xsi:type="dcterms:W3CDTF">2012-04-25T13:09:23Z</dcterms:created>
  <dcterms:modified xsi:type="dcterms:W3CDTF">2021-07-01T12:41:48Z</dcterms:modified>
</cp:coreProperties>
</file>